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51206400" cy="64262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22" d="100"/>
          <a:sy n="22" d="100"/>
        </p:scale>
        <p:origin x="82" y="20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115696-E373-689D-7C99-1511754996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ADFB33-2056-FB0A-DE61-1689B562C03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AA4F2E-A597-4910-96E0-CDA2549F3F12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ABC98F-F9B2-343F-7F38-2FE6D5C324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8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B6C119-CABD-7F07-E6A3-47AA78D8BF6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C9821B-9436-4671-9F52-E56A8906FC3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3901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14A643-B448-41E2-B952-335A5C95C2ED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8866188" y="1143000"/>
            <a:ext cx="24590376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85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2F961D-7CA5-4613-8B8F-1A92E0D2B08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68927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961D-7CA5-4613-8B8F-1A92E0D2B08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4776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5991" y="70840"/>
            <a:ext cx="49668973" cy="715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5989" y="6189920"/>
            <a:ext cx="15624000" cy="118067"/>
          </a:xfrm>
        </p:spPr>
        <p:txBody>
          <a:bodyPr/>
          <a:lstStyle/>
          <a:p>
            <a:fld id="{437830ED-2762-4BE0-921F-928D73A47627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792174" y="6189920"/>
            <a:ext cx="14516808" cy="118067"/>
          </a:xfrm>
        </p:spPr>
        <p:txBody>
          <a:bodyPr/>
          <a:lstStyle/>
          <a:p>
            <a:r>
              <a:rPr lang="de-DE"/>
              <a:t>PowerPoint-1067×85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9037416" y="6175231"/>
            <a:ext cx="1467545" cy="141680"/>
          </a:xfrm>
        </p:spPr>
        <p:txBody>
          <a:bodyPr/>
          <a:lstStyle/>
          <a:p>
            <a:fld id="{6DBFD4A0-0687-4919-8F27-632DA67A7CBA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5989" y="856827"/>
            <a:ext cx="41811840" cy="330587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856793" rtl="0" eaLnBrk="1" latinLnBrk="0" hangingPunct="1">
              <a:spcBef>
                <a:spcPct val="20000"/>
              </a:spcBef>
              <a:buFontTx/>
              <a:buNone/>
              <a:defRPr lang="de-DE" sz="1124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70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70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70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7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70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70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70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589289275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7C99D2-C3B6-5890-2402-5C26BED5D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31D023-B7C8-14A7-66A3-B13B601463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7830ED-2762-4BE0-921F-928D73A47627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1B3CA4-F224-2D16-AB0F-01BF39619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8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0CDAF6-9C43-3D7F-E2C4-65855F1D0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D4A0-0687-4919-8F27-632DA67A7CB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136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835989" y="6189920"/>
            <a:ext cx="15624000" cy="1180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468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437830ED-2762-4BE0-921F-928D73A47627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33792174" y="6189920"/>
            <a:ext cx="14516808" cy="118067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468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85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35991" y="70840"/>
            <a:ext cx="49668973" cy="715147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835989" y="856827"/>
            <a:ext cx="41811840" cy="3305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49037416" y="6175231"/>
            <a:ext cx="1467545" cy="14168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750">
                <a:solidFill>
                  <a:schemeClr val="tx1"/>
                </a:solidFill>
                <a:latin typeface="+mn-lt"/>
              </a:defRPr>
            </a:lvl1pPr>
          </a:lstStyle>
          <a:p>
            <a:fld id="{6DBFD4A0-0687-4919-8F27-632DA67A7CBA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345612" y="5777118"/>
            <a:ext cx="25255647" cy="20774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05746" marR="0" lvl="0" indent="-505746" defTabSz="85679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17984" algn="r"/>
                <a:tab pos="505746" algn="l"/>
              </a:tabLst>
              <a:defRPr/>
            </a:pPr>
            <a:r>
              <a:rPr lang="de-DE" sz="75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202345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856793" rtl="0" eaLnBrk="1" latinLnBrk="0" hangingPunct="1">
        <a:spcBef>
          <a:spcPct val="0"/>
        </a:spcBef>
        <a:buNone/>
        <a:defRPr lang="de-DE" sz="1687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56793" rtl="0" eaLnBrk="1" latinLnBrk="0" hangingPunct="1">
        <a:spcBef>
          <a:spcPct val="20000"/>
        </a:spcBef>
        <a:buFontTx/>
        <a:buNone/>
        <a:defRPr sz="1124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856793" rtl="0" eaLnBrk="1" latinLnBrk="0" hangingPunct="1">
        <a:spcBef>
          <a:spcPct val="20000"/>
        </a:spcBef>
        <a:buFont typeface="Arial" pitchFamily="34" charset="0"/>
        <a:buNone/>
        <a:defRPr sz="1124" kern="1200">
          <a:solidFill>
            <a:schemeClr val="tx1"/>
          </a:solidFill>
          <a:latin typeface="+mj-lt"/>
          <a:ea typeface="+mn-ea"/>
          <a:cs typeface="+mn-cs"/>
        </a:defRPr>
      </a:lvl2pPr>
      <a:lvl3pPr marL="166599" indent="-166599" algn="l" defTabSz="856793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j-lt"/>
          <a:ea typeface="+mn-ea"/>
          <a:cs typeface="+mn-cs"/>
        </a:defRPr>
      </a:lvl3pPr>
      <a:lvl4pPr marL="333197" indent="-162137" algn="l" defTabSz="856793" rtl="0" eaLnBrk="1" latinLnBrk="0" hangingPunct="1">
        <a:spcBef>
          <a:spcPts val="270"/>
        </a:spcBef>
        <a:buFont typeface="Arial" pitchFamily="34" charset="0"/>
        <a:buChar char="–"/>
        <a:defRPr sz="1124" kern="1200">
          <a:solidFill>
            <a:schemeClr val="tx1"/>
          </a:solidFill>
          <a:latin typeface="+mj-lt"/>
          <a:ea typeface="+mn-ea"/>
          <a:cs typeface="+mn-cs"/>
        </a:defRPr>
      </a:lvl4pPr>
      <a:lvl5pPr marL="464096" indent="-130899" algn="l" defTabSz="856793" rtl="0" eaLnBrk="1" latinLnBrk="0" hangingPunct="1">
        <a:spcBef>
          <a:spcPts val="270"/>
        </a:spcBef>
        <a:buFont typeface="Arial" pitchFamily="34" charset="0"/>
        <a:buChar char="-"/>
        <a:defRPr sz="1124" kern="1200">
          <a:solidFill>
            <a:schemeClr val="tx1"/>
          </a:solidFill>
          <a:latin typeface="+mj-lt"/>
          <a:ea typeface="+mn-ea"/>
          <a:cs typeface="+mn-cs"/>
        </a:defRPr>
      </a:lvl5pPr>
      <a:lvl6pPr marL="589045" indent="-116024" algn="l" defTabSz="856793" rtl="0" eaLnBrk="1" latinLnBrk="0" hangingPunct="1">
        <a:spcBef>
          <a:spcPts val="270"/>
        </a:spcBef>
        <a:buFont typeface="Arial" pitchFamily="34" charset="0"/>
        <a:buChar char="-"/>
        <a:defRPr sz="1124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30357" indent="-138337" algn="l" defTabSz="856793" rtl="0" eaLnBrk="1" latinLnBrk="0" hangingPunct="1">
        <a:spcBef>
          <a:spcPts val="270"/>
        </a:spcBef>
        <a:buFont typeface="Arial" pitchFamily="34" charset="0"/>
        <a:buChar char="-"/>
        <a:defRPr sz="1124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846381" indent="-111562" algn="l" defTabSz="856793" rtl="0" eaLnBrk="1" latinLnBrk="0" hangingPunct="1">
        <a:spcBef>
          <a:spcPts val="270"/>
        </a:spcBef>
        <a:buFont typeface="Arial" pitchFamily="34" charset="0"/>
        <a:buChar char="-"/>
        <a:defRPr sz="1124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966867" indent="-118999" algn="l" defTabSz="856793" rtl="0" eaLnBrk="1" latinLnBrk="0" hangingPunct="1">
        <a:spcBef>
          <a:spcPts val="270"/>
        </a:spcBef>
        <a:buFont typeface="Arial" pitchFamily="34" charset="0"/>
        <a:buChar char="-"/>
        <a:tabLst/>
        <a:defRPr sz="1124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856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1pPr>
      <a:lvl2pPr marL="428396" algn="l" defTabSz="856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2pPr>
      <a:lvl3pPr marL="856793" algn="l" defTabSz="856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3pPr>
      <a:lvl4pPr marL="1285189" algn="l" defTabSz="856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4pPr>
      <a:lvl5pPr marL="1713586" algn="l" defTabSz="856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5pPr>
      <a:lvl6pPr marL="2141982" algn="l" defTabSz="856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6pPr>
      <a:lvl7pPr marL="2570378" algn="l" defTabSz="856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7pPr>
      <a:lvl8pPr marL="2998775" algn="l" defTabSz="856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8pPr>
      <a:lvl9pPr marL="3427171" algn="l" defTabSz="856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DB3B9-4DD9-1BF8-C7CF-3ACD71CC2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87440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D69888E5-EFE5-4BAD-A8AE-85D3FC3804D7}" vid="{35FE577B-8D41-4C5E-AD66-3E24C621435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tefan Berger</dc:creator>
  <cp:lastModifiedBy>Stefan Berger</cp:lastModifiedBy>
  <cp:revision>3</cp:revision>
  <dcterms:created xsi:type="dcterms:W3CDTF">2025-08-17T11:11:41Z</dcterms:created>
  <dcterms:modified xsi:type="dcterms:W3CDTF">2025-09-01T07:44:44Z</dcterms:modified>
</cp:coreProperties>
</file>